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b="1" dirty="0">
                <a:solidFill>
                  <a:srgbClr val="86BC25"/>
                </a:solidFill>
              </a:rPr>
              <a:t>Cloud Computing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536000" cy="2257917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 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Cloud can be defined as an on-demand delivery of IT resources and applications via the internet with a pay-as-you-go pricing. 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The transition to cloud will:</a:t>
            </a:r>
            <a:endParaRPr lang="en-US" sz="1100" b="0" dirty="0">
              <a:effectLst/>
            </a:endParaRP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Enable the ability to scale up and down allowing an elastic infrastructure.</a:t>
            </a: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R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educe or eliminate the Purchase and maintenance of hardware shifting focus to core competencies</a:t>
            </a: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It can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 be centrally managed as the service is operated and hosted by providers like Amazon Web Services, Microsoft Azure, etc.</a:t>
            </a: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To 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provide the ability for business, i.e. to only pay what services are used.</a:t>
            </a: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211442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apabilities </a:t>
            </a:r>
            <a:br>
              <a:rPr lang="en-US" sz="1400" b="0" dirty="0">
                <a:effectLst/>
              </a:rPr>
            </a:b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Cloud has a variety of different use cases and capabilities in education, a few examples of what many organizations could do with cloud are listed below:</a:t>
            </a:r>
            <a:endParaRPr lang="en-US" sz="1100" b="0" dirty="0">
              <a:effectLst/>
            </a:endParaRP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Self provisioning cloud compute service for researchers to enable on-demand computer.</a:t>
            </a: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The 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developing and scaling </a:t>
            </a:r>
            <a:r>
              <a:rPr lang="en-US" sz="1100" dirty="0">
                <a:solidFill>
                  <a:srgbClr val="000000"/>
                </a:solidFill>
              </a:rPr>
              <a:t>of 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online open courses through the cloud infrastructure which makes the storage and accessibility </a:t>
            </a:r>
            <a:r>
              <a:rPr lang="en-US" sz="1100" dirty="0">
                <a:solidFill>
                  <a:srgbClr val="000000"/>
                </a:solidFill>
              </a:rPr>
              <a:t>easy.</a:t>
            </a:r>
            <a:endParaRPr lang="en-US" sz="1100" b="0" i="0" u="none" strike="noStrike" dirty="0">
              <a:solidFill>
                <a:srgbClr val="000000"/>
              </a:solidFill>
              <a:effectLst/>
            </a:endParaRP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St</a:t>
            </a: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reaming of online lecture recordings through cloud services to reduce buffering and keep up with the demand, during peak hours</a:t>
            </a:r>
          </a:p>
          <a:p>
            <a:pPr marL="171450" indent="-1714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</a:rPr>
              <a:t>The use of Remote Desktop service to replace specialized computer labs with specialized software like, graphical and video processing software 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637B03-DE12-4A41-85E1-E30CE250D3D3}"/>
              </a:ext>
            </a:extLst>
          </p:cNvPr>
          <p:cNvSpPr txBox="1"/>
          <p:nvPr/>
        </p:nvSpPr>
        <p:spPr>
          <a:xfrm>
            <a:off x="426542" y="3691156"/>
            <a:ext cx="529475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IN" sz="1600" b="1" dirty="0">
                <a:solidFill>
                  <a:srgbClr val="86BC25"/>
                </a:solidFill>
              </a:rPr>
              <a:t>Cloud Characteristics</a:t>
            </a:r>
          </a:p>
          <a:p>
            <a:pPr>
              <a:spcBef>
                <a:spcPts val="600"/>
              </a:spcBef>
              <a:buSzPct val="100000"/>
            </a:pPr>
            <a:r>
              <a:rPr lang="en-IN" sz="1200" dirty="0"/>
              <a:t>Businesses have option the three cloud platforms: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IN" sz="1200" dirty="0"/>
              <a:t>Public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IN" sz="1200" dirty="0"/>
              <a:t>Private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IN" sz="1200" dirty="0"/>
              <a:t>Hybri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9A1902-888E-41F7-8707-F4F817B360A1}"/>
              </a:ext>
            </a:extLst>
          </p:cNvPr>
          <p:cNvSpPr txBox="1"/>
          <p:nvPr/>
        </p:nvSpPr>
        <p:spPr>
          <a:xfrm>
            <a:off x="6567894" y="3691156"/>
            <a:ext cx="5243602" cy="25699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IN" sz="1600" b="1" dirty="0">
                <a:solidFill>
                  <a:srgbClr val="86BC25"/>
                </a:solidFill>
              </a:rPr>
              <a:t>Cloud Advantag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b="1" i="0" dirty="0">
                <a:solidFill>
                  <a:srgbClr val="000000"/>
                </a:solidFill>
                <a:effectLst/>
              </a:rPr>
              <a:t>Rapid implementation:</a:t>
            </a:r>
            <a:r>
              <a:rPr lang="en-US" sz="1100" b="0" i="0" dirty="0">
                <a:solidFill>
                  <a:srgbClr val="000000"/>
                </a:solidFill>
                <a:effectLst/>
              </a:rPr>
              <a:t> Less time is required to get up and running on cloud-based system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b="1" i="0" dirty="0">
                <a:solidFill>
                  <a:srgbClr val="000000"/>
                </a:solidFill>
                <a:effectLst/>
              </a:rPr>
              <a:t>Cost predictability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b="1" i="0" dirty="0">
                <a:solidFill>
                  <a:srgbClr val="000000"/>
                </a:solidFill>
                <a:effectLst/>
              </a:rPr>
              <a:t>Balanced ROI:</a:t>
            </a:r>
            <a:r>
              <a:rPr lang="en-US" sz="1100" b="0" i="0" dirty="0">
                <a:solidFill>
                  <a:srgbClr val="000000"/>
                </a:solidFill>
                <a:effectLst/>
              </a:rPr>
              <a:t> Cloud delivers a faster return on IT investments, thanks to accelerated implementation and elimination of upfront licensing and infrastructure cost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b="1" i="0" dirty="0">
                <a:solidFill>
                  <a:srgbClr val="000000"/>
                </a:solidFill>
                <a:effectLst/>
              </a:rPr>
              <a:t>Agility: </a:t>
            </a:r>
            <a:r>
              <a:rPr lang="en-US" sz="1100" b="0" i="0" dirty="0">
                <a:solidFill>
                  <a:srgbClr val="000000"/>
                </a:solidFill>
                <a:effectLst/>
              </a:rPr>
              <a:t>Companies can quickly develop and deploy new IT capabilities and business processes to stay ahead of the competition and keep pace with changes in the marketplac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100" b="1" i="0" dirty="0">
                <a:solidFill>
                  <a:srgbClr val="000000"/>
                </a:solidFill>
                <a:effectLst/>
              </a:rPr>
              <a:t>Scalability:</a:t>
            </a:r>
            <a:r>
              <a:rPr lang="en-US" sz="1100" b="0" i="0" dirty="0">
                <a:solidFill>
                  <a:srgbClr val="000000"/>
                </a:solidFill>
                <a:effectLst/>
              </a:rPr>
              <a:t> Cloud provides a flexible platform that can grow or shrink as needed, enabling businesses to explore new markets, pursue new innovations and serve new customer segments.</a:t>
            </a:r>
          </a:p>
          <a:p>
            <a:pPr>
              <a:spcBef>
                <a:spcPts val="600"/>
              </a:spcBef>
              <a:buSzPct val="100000"/>
            </a:pPr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325</Words>
  <Application>Microsoft Office PowerPoint</Application>
  <PresentationFormat>Widescreen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_4_3_Onscreen</vt:lpstr>
      <vt:lpstr>think-cell Slide</vt:lpstr>
      <vt:lpstr>Cloud Computing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Venkata Sai P Bhamidipati</cp:lastModifiedBy>
  <cp:revision>12</cp:revision>
  <dcterms:created xsi:type="dcterms:W3CDTF">2019-03-31T19:26:34Z</dcterms:created>
  <dcterms:modified xsi:type="dcterms:W3CDTF">2021-03-24T06:23:05Z</dcterms:modified>
</cp:coreProperties>
</file>